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595" r:id="rId2"/>
    <p:sldId id="611" r:id="rId3"/>
    <p:sldId id="625" r:id="rId4"/>
    <p:sldId id="624" r:id="rId5"/>
    <p:sldId id="626" r:id="rId6"/>
    <p:sldId id="627" r:id="rId7"/>
    <p:sldId id="661" r:id="rId8"/>
    <p:sldId id="628" r:id="rId9"/>
    <p:sldId id="653" r:id="rId10"/>
    <p:sldId id="654" r:id="rId11"/>
    <p:sldId id="631" r:id="rId12"/>
    <p:sldId id="632" r:id="rId13"/>
    <p:sldId id="629" r:id="rId14"/>
    <p:sldId id="634" r:id="rId15"/>
    <p:sldId id="635" r:id="rId16"/>
    <p:sldId id="636" r:id="rId17"/>
    <p:sldId id="637" r:id="rId18"/>
    <p:sldId id="638" r:id="rId19"/>
    <p:sldId id="639" r:id="rId20"/>
    <p:sldId id="644" r:id="rId21"/>
    <p:sldId id="640" r:id="rId22"/>
    <p:sldId id="641" r:id="rId23"/>
    <p:sldId id="642" r:id="rId24"/>
    <p:sldId id="643" r:id="rId25"/>
    <p:sldId id="645" r:id="rId26"/>
    <p:sldId id="646" r:id="rId27"/>
    <p:sldId id="651" r:id="rId28"/>
    <p:sldId id="652" r:id="rId29"/>
    <p:sldId id="655" r:id="rId30"/>
    <p:sldId id="647" r:id="rId31"/>
    <p:sldId id="656" r:id="rId32"/>
    <p:sldId id="648" r:id="rId33"/>
    <p:sldId id="657" r:id="rId34"/>
    <p:sldId id="650" r:id="rId35"/>
    <p:sldId id="649" r:id="rId36"/>
    <p:sldId id="658" r:id="rId37"/>
    <p:sldId id="660" r:id="rId38"/>
    <p:sldId id="659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611"/>
            <p14:sldId id="625"/>
            <p14:sldId id="624"/>
            <p14:sldId id="626"/>
            <p14:sldId id="627"/>
            <p14:sldId id="661"/>
            <p14:sldId id="628"/>
            <p14:sldId id="653"/>
            <p14:sldId id="654"/>
            <p14:sldId id="631"/>
            <p14:sldId id="632"/>
            <p14:sldId id="629"/>
            <p14:sldId id="634"/>
            <p14:sldId id="635"/>
            <p14:sldId id="636"/>
            <p14:sldId id="637"/>
            <p14:sldId id="638"/>
            <p14:sldId id="639"/>
            <p14:sldId id="644"/>
            <p14:sldId id="640"/>
            <p14:sldId id="641"/>
            <p14:sldId id="642"/>
            <p14:sldId id="643"/>
            <p14:sldId id="645"/>
            <p14:sldId id="646"/>
            <p14:sldId id="651"/>
            <p14:sldId id="652"/>
            <p14:sldId id="655"/>
            <p14:sldId id="647"/>
            <p14:sldId id="656"/>
            <p14:sldId id="648"/>
            <p14:sldId id="657"/>
            <p14:sldId id="650"/>
            <p14:sldId id="649"/>
            <p14:sldId id="658"/>
            <p14:sldId id="660"/>
            <p14:sldId id="6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88" autoAdjust="0"/>
    <p:restoredTop sz="84977" autoAdjust="0"/>
  </p:normalViewPr>
  <p:slideViewPr>
    <p:cSldViewPr>
      <p:cViewPr varScale="1">
        <p:scale>
          <a:sx n="65" d="100"/>
          <a:sy n="65" d="100"/>
        </p:scale>
        <p:origin x="628" y="40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out the [</a:t>
            </a:r>
            <a:r>
              <a:rPr lang="en-US" dirty="0" err="1"/>
              <a:t>s|S</a:t>
            </a:r>
            <a:r>
              <a:rPr lang="en-US" dirty="0"/>
              <a:t>] -&gt; unsign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ith the [</a:t>
            </a:r>
            <a:r>
              <a:rPr lang="en-US" dirty="0" err="1"/>
              <a:t>s|S</a:t>
            </a:r>
            <a:r>
              <a:rPr lang="en-US" dirty="0"/>
              <a:t>] -&gt; sign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347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when to use 2-state and 4-st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5983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877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ectronicdesign.com/technologies/eda/article/21796417/transactionbased-verification-and-emulation-combine-for-multimegahertz-verification-performance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212: Digital Testing and Verific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15D171-FB1F-87FA-BFF8-0CCA3F0B4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F2B2654-B7A0-C380-C501-9F3DF00BC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Method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2AA0BE-2AB2-4900-AF51-4E46923FF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Assertion-based Verification</a:t>
            </a:r>
          </a:p>
          <a:p>
            <a:endParaRPr lang="en-US" sz="1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385A52-6AA0-B6CB-29B4-06A69AC13A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535AD-4391-76CB-49B4-37E72443111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1A9452-BC5E-B543-50E6-CCB109BE37D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 sz="2000" dirty="0"/>
              <a:t>An assertion is a statement about a design’s intended behavior, which must be verified. </a:t>
            </a:r>
          </a:p>
          <a:p>
            <a:pPr lvl="0"/>
            <a:r>
              <a:rPr lang="en-US" sz="2000" dirty="0"/>
              <a:t>It is a way of capturing a design’s intention or part of the design’s specification in the form of a property; this property can be used along with dynamic simulation and with formal verification to ensure whether this specification is met.</a:t>
            </a:r>
          </a:p>
          <a:p>
            <a:pPr lvl="0"/>
            <a:r>
              <a:rPr lang="en-US" sz="2000" dirty="0"/>
              <a:t>Assertions Benefits:</a:t>
            </a:r>
          </a:p>
          <a:p>
            <a:pPr lvl="1"/>
            <a:r>
              <a:rPr lang="en-US" sz="2000" dirty="0"/>
              <a:t> Improves observability and debugging ability.</a:t>
            </a:r>
          </a:p>
          <a:p>
            <a:pPr lvl="1"/>
            <a:r>
              <a:rPr lang="en-US" sz="2000" dirty="0"/>
              <a:t>Improves integration through correct usage checking.</a:t>
            </a:r>
          </a:p>
          <a:p>
            <a:pPr lvl="1"/>
            <a:r>
              <a:rPr lang="en-US" sz="2000" dirty="0"/>
              <a:t>Improves verification efficiency.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7997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40B98A-B289-92DC-388B-9D50C5E84A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6915ECE-3519-432B-9DE1-66C7D2AA3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Metho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9128E2-D1F2-FE04-A4FA-3B5BA56E64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Emulation Based Verification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E3ADAA-2BEF-7846-E519-DB59282E50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3E3297-5A9E-DCEC-87CC-F33C3099DB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2" name="Picture 2" descr="Transaction-based Verification And Emulation Combine For Multi-megahertz  Verification Performance | Electronic Design">
            <a:extLst>
              <a:ext uri="{FF2B5EF4-FFF2-40B4-BE49-F238E27FC236}">
                <a16:creationId xmlns:a16="http://schemas.microsoft.com/office/drawing/2014/main" id="{CC6C280E-4D9F-E5F3-028D-2270BFBBF8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8" t="7724" r="3690" b="32251"/>
          <a:stretch/>
        </p:blipFill>
        <p:spPr bwMode="auto">
          <a:xfrm>
            <a:off x="808573" y="1509333"/>
            <a:ext cx="10727818" cy="3730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F0ABC4-43F7-5545-ED30-F3EA9A769A95}"/>
              </a:ext>
            </a:extLst>
          </p:cNvPr>
          <p:cNvSpPr txBox="1"/>
          <p:nvPr/>
        </p:nvSpPr>
        <p:spPr>
          <a:xfrm>
            <a:off x="1447800" y="4859229"/>
            <a:ext cx="8763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ivolo</a:t>
            </a:r>
            <a:r>
              <a:rPr lang="en-US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L., 2021. </a:t>
            </a:r>
            <a:r>
              <a:rPr lang="en-US" sz="900" b="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nsaction-based Verification And Emulation Combine For Multi-megahertz Verification Performance</a:t>
            </a:r>
            <a:r>
              <a:rPr lang="en-US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[online] Electronicdesign.com. Available at: </a:t>
            </a:r>
            <a:r>
              <a:rPr lang="en-US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lectronicdesign.com/technologies/eda/article/21796417/transactionbased-verification-and-emulation-combine-for-multimegahertz-verification-performance</a:t>
            </a:r>
            <a:r>
              <a:rPr lang="en-US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000" b="0" i="0" u="none" strike="noStrike" baseline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1435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169B11-7F35-41E6-7A4F-1448B45876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DB94BF5-F91F-6B32-AD31-0A33F8D37C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Testbench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EBCB894-371F-F4C3-6C69-5256C333F4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744200" cy="4886178"/>
          </a:xfrm>
        </p:spPr>
        <p:txBody>
          <a:bodyPr/>
          <a:lstStyle/>
          <a:p>
            <a:r>
              <a:rPr lang="en-US" dirty="0"/>
              <a:t>A Testbench is implemented to check the functional correctness of the DUT. This is achieved by doing the following:</a:t>
            </a:r>
          </a:p>
          <a:p>
            <a:pPr lvl="1"/>
            <a:r>
              <a:rPr lang="en-US" sz="1800" dirty="0"/>
              <a:t>Generate stimulus</a:t>
            </a:r>
          </a:p>
          <a:p>
            <a:pPr lvl="1"/>
            <a:r>
              <a:rPr lang="en-US" sz="1800" dirty="0"/>
              <a:t>Apply stimulus to the DUT</a:t>
            </a:r>
          </a:p>
          <a:p>
            <a:pPr lvl="1"/>
            <a:r>
              <a:rPr lang="en-US" sz="1800" dirty="0"/>
              <a:t>Capture the response</a:t>
            </a:r>
          </a:p>
          <a:p>
            <a:pPr lvl="1"/>
            <a:r>
              <a:rPr lang="en-US" sz="1800" dirty="0"/>
              <a:t>Check for correctness</a:t>
            </a:r>
          </a:p>
          <a:p>
            <a:pPr lvl="1"/>
            <a:r>
              <a:rPr lang="en-US" sz="1800" dirty="0"/>
              <a:t>Measure progress against the overall verification goals</a:t>
            </a:r>
          </a:p>
          <a:p>
            <a:r>
              <a:rPr lang="en-US" dirty="0"/>
              <a:t>There are different approaches for testing:</a:t>
            </a:r>
          </a:p>
          <a:p>
            <a:pPr lvl="1"/>
            <a:r>
              <a:rPr lang="en-US" sz="1800" dirty="0"/>
              <a:t>Directed Testing</a:t>
            </a:r>
          </a:p>
          <a:p>
            <a:pPr lvl="1"/>
            <a:r>
              <a:rPr lang="en-US" sz="1800" dirty="0"/>
              <a:t>Pure Random Testing</a:t>
            </a:r>
          </a:p>
          <a:p>
            <a:pPr lvl="1"/>
            <a:r>
              <a:rPr lang="en-US" sz="1800" dirty="0"/>
              <a:t>Constrained random stimulus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17F511-CF1B-72DE-DE0F-1797187E3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A0B4D1-1B1E-7E0E-E074-846DEF6940A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77040C-5509-21CD-A3DE-24610A39B28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67647" y="4317127"/>
            <a:ext cx="5315223" cy="24004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1B31EBE-B194-114D-F063-A112FBFB06ED}"/>
              </a:ext>
            </a:extLst>
          </p:cNvPr>
          <p:cNvSpPr txBox="1"/>
          <p:nvPr/>
        </p:nvSpPr>
        <p:spPr>
          <a:xfrm>
            <a:off x="7162800" y="4724400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onstrained</a:t>
            </a:r>
          </a:p>
        </p:txBody>
      </p:sp>
    </p:spTree>
    <p:extLst>
      <p:ext uri="{BB962C8B-B14F-4D97-AF65-F5344CB8AC3E}">
        <p14:creationId xmlns:p14="http://schemas.microsoft.com/office/powerpoint/2010/main" val="2844029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10781-7EAB-9FB3-BC8D-86E40FA8C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E315125-8336-027B-E429-292769FFD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l Designed Verification Environmen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C0C8C7F-2DDD-342B-6E49-A4576D3B7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8763000" cy="5333995"/>
          </a:xfrm>
        </p:spPr>
        <p:txBody>
          <a:bodyPr/>
          <a:lstStyle/>
          <a:p>
            <a:r>
              <a:rPr lang="en-US" dirty="0"/>
              <a:t>Test Environment must:</a:t>
            </a:r>
          </a:p>
          <a:p>
            <a:pPr lvl="1"/>
            <a:r>
              <a:rPr lang="en-US" dirty="0"/>
              <a:t>Be structured for debug</a:t>
            </a:r>
          </a:p>
          <a:p>
            <a:pPr lvl="1"/>
            <a:r>
              <a:rPr lang="en-US" dirty="0"/>
              <a:t>Avoid false positives</a:t>
            </a:r>
          </a:p>
          <a:p>
            <a:r>
              <a:rPr lang="en-US" dirty="0"/>
              <a:t>Tests must:</a:t>
            </a:r>
          </a:p>
          <a:p>
            <a:pPr lvl="1"/>
            <a:r>
              <a:rPr lang="en-US" dirty="0"/>
              <a:t>Achieve Functional Coverage</a:t>
            </a:r>
          </a:p>
          <a:p>
            <a:pPr lvl="2"/>
            <a:r>
              <a:rPr lang="en-US" dirty="0"/>
              <a:t>Prevent untested regions</a:t>
            </a:r>
          </a:p>
          <a:p>
            <a:pPr lvl="1"/>
            <a:r>
              <a:rPr lang="en-US" dirty="0"/>
              <a:t>Reach Corner Cases</a:t>
            </a:r>
          </a:p>
          <a:p>
            <a:pPr lvl="2"/>
            <a:r>
              <a:rPr lang="en-US" dirty="0"/>
              <a:t>Anticipated Cases</a:t>
            </a:r>
          </a:p>
          <a:p>
            <a:pPr lvl="2"/>
            <a:r>
              <a:rPr lang="en-US" dirty="0"/>
              <a:t>Error Injection</a:t>
            </a:r>
          </a:p>
          <a:p>
            <a:pPr lvl="3"/>
            <a:r>
              <a:rPr lang="en-US" dirty="0"/>
              <a:t>Environment Error</a:t>
            </a:r>
          </a:p>
          <a:p>
            <a:pPr lvl="3"/>
            <a:r>
              <a:rPr lang="en-US" dirty="0"/>
              <a:t>DUT Error</a:t>
            </a:r>
          </a:p>
          <a:p>
            <a:pPr lvl="2"/>
            <a:r>
              <a:rPr lang="en-US" dirty="0"/>
              <a:t>Unanticipated Cases</a:t>
            </a:r>
          </a:p>
          <a:p>
            <a:pPr lvl="3"/>
            <a:r>
              <a:rPr lang="en-US" dirty="0"/>
              <a:t>Random tests</a:t>
            </a:r>
          </a:p>
          <a:p>
            <a:pPr lvl="2"/>
            <a:r>
              <a:rPr lang="en-US" dirty="0"/>
              <a:t>Be Robust, Reusable, Scalable</a:t>
            </a:r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DD301D-EAEB-EFA2-F061-3C4AA0893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C2BEAB-8D72-68F8-59EF-293052B38BC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ED7225-DA27-71CE-B9ED-AA320928F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3818" y="2189327"/>
            <a:ext cx="4648200" cy="339374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51D0CC9-9AD7-2D32-EA75-BCDAEBF1A737}"/>
              </a:ext>
            </a:extLst>
          </p:cNvPr>
          <p:cNvSpPr txBox="1"/>
          <p:nvPr/>
        </p:nvSpPr>
        <p:spPr>
          <a:xfrm rot="16200000">
            <a:off x="4760972" y="3260757"/>
            <a:ext cx="274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+mj-lt"/>
                <a:ea typeface="ADLaM Display" panose="020F0502020204030204" pitchFamily="2" charset="0"/>
                <a:cs typeface="ADLaM Display" panose="020F0502020204030204" pitchFamily="2" charset="0"/>
              </a:rPr>
              <a:t>Testbench</a:t>
            </a:r>
          </a:p>
        </p:txBody>
      </p:sp>
    </p:spTree>
    <p:extLst>
      <p:ext uri="{BB962C8B-B14F-4D97-AF65-F5344CB8AC3E}">
        <p14:creationId xmlns:p14="http://schemas.microsoft.com/office/powerpoint/2010/main" val="32741472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3376C8-04B5-F1AA-B1EA-4B3A58B0A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8B035B3-E332-6C91-631A-471E3AB69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Testbench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9689ABB-23A1-E9D6-E8F8-99F22618AA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25543"/>
            <a:ext cx="6553200" cy="5333995"/>
          </a:xfrm>
        </p:spPr>
        <p:txBody>
          <a:bodyPr/>
          <a:lstStyle/>
          <a:p>
            <a:r>
              <a:rPr lang="en-US" sz="2400" dirty="0"/>
              <a:t>Transaction</a:t>
            </a:r>
          </a:p>
          <a:p>
            <a:pPr lvl="1"/>
            <a:r>
              <a:rPr lang="en-US" dirty="0"/>
              <a:t>Class that holds a structure used to communicate with DUT.</a:t>
            </a:r>
          </a:p>
          <a:p>
            <a:pPr lvl="1"/>
            <a:r>
              <a:rPr lang="en-US" dirty="0"/>
              <a:t>Then converted to pin-level data to be driven to the DUT or monitored.</a:t>
            </a:r>
          </a:p>
          <a:p>
            <a:r>
              <a:rPr lang="en-US" sz="2400" dirty="0"/>
              <a:t>Generator</a:t>
            </a:r>
          </a:p>
          <a:p>
            <a:pPr lvl="1"/>
            <a:r>
              <a:rPr lang="en-US" dirty="0"/>
              <a:t>Creates or generates randomized transactions or stimuli and passes them to the driver.</a:t>
            </a:r>
          </a:p>
          <a:p>
            <a:r>
              <a:rPr lang="en-US" sz="2400" dirty="0"/>
              <a:t>Driver</a:t>
            </a:r>
            <a:endParaRPr lang="en-US" dirty="0"/>
          </a:p>
          <a:p>
            <a:pPr lvl="1"/>
            <a:r>
              <a:rPr lang="en-US" dirty="0"/>
              <a:t>Interacts with DUT directly. </a:t>
            </a:r>
          </a:p>
          <a:p>
            <a:pPr lvl="1"/>
            <a:r>
              <a:rPr lang="en-US" dirty="0"/>
              <a:t>Receives randomized transactions from the generator and drives them to the DUT as a pin-level activity.</a:t>
            </a:r>
          </a:p>
          <a:p>
            <a:r>
              <a:rPr lang="en-US" sz="2400" dirty="0"/>
              <a:t>Monitor</a:t>
            </a:r>
            <a:endParaRPr lang="en-US" dirty="0"/>
          </a:p>
          <a:p>
            <a:pPr lvl="1"/>
            <a:r>
              <a:rPr lang="en-US" dirty="0"/>
              <a:t>Observe pin-level activity on the connected interface at the input and output of the design. </a:t>
            </a:r>
          </a:p>
          <a:p>
            <a:pPr lvl="1"/>
            <a:r>
              <a:rPr lang="en-US" dirty="0"/>
              <a:t>Then, convert the pin-level activity into a transaction packet and send it to the scoreboard for checking purposes.</a:t>
            </a:r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370A22-E7E8-C886-0AD7-4298BD50C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80560B-FE44-AE08-F2DB-8B75409126A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0BDA7A2-8C87-1F10-083A-E838897B92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1800" y="2464843"/>
            <a:ext cx="5109768" cy="250280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3B4AD7D-1741-1244-6FC6-BD060CB78FB8}"/>
              </a:ext>
            </a:extLst>
          </p:cNvPr>
          <p:cNvSpPr/>
          <p:nvPr/>
        </p:nvSpPr>
        <p:spPr>
          <a:xfrm>
            <a:off x="6654281" y="2133600"/>
            <a:ext cx="5187463" cy="304973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A0E918-861E-F755-B778-5A708715921B}"/>
              </a:ext>
            </a:extLst>
          </p:cNvPr>
          <p:cNvSpPr txBox="1"/>
          <p:nvPr/>
        </p:nvSpPr>
        <p:spPr>
          <a:xfrm>
            <a:off x="6665365" y="2199712"/>
            <a:ext cx="656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p</a:t>
            </a:r>
          </a:p>
        </p:txBody>
      </p:sp>
    </p:spTree>
    <p:extLst>
      <p:ext uri="{BB962C8B-B14F-4D97-AF65-F5344CB8AC3E}">
        <p14:creationId xmlns:p14="http://schemas.microsoft.com/office/powerpoint/2010/main" val="11611519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B1C34C-5DE3-5AB2-2B12-11D2A1D15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E4F8D2F-FFE0-5F4D-12AD-A1C88A449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Testbench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712F2EF-BB59-2724-430F-4F894D501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25543"/>
            <a:ext cx="6553200" cy="5333995"/>
          </a:xfrm>
        </p:spPr>
        <p:txBody>
          <a:bodyPr/>
          <a:lstStyle/>
          <a:p>
            <a:r>
              <a:rPr lang="en-US" dirty="0"/>
              <a:t>Test</a:t>
            </a:r>
          </a:p>
          <a:p>
            <a:pPr lvl="1"/>
            <a:r>
              <a:rPr lang="en-US" dirty="0"/>
              <a:t>The test is at the top of the hierarchy, initiating the construction of the environment components and the connection between them. </a:t>
            </a:r>
          </a:p>
          <a:p>
            <a:pPr lvl="1"/>
            <a:r>
              <a:rPr lang="en-US" dirty="0"/>
              <a:t>Responsible for the testbench configuration and stimulus generation process.</a:t>
            </a:r>
          </a:p>
          <a:p>
            <a:r>
              <a:rPr lang="en-US" dirty="0"/>
              <a:t>Testbench top</a:t>
            </a:r>
          </a:p>
          <a:p>
            <a:pPr lvl="1"/>
            <a:r>
              <a:rPr lang="en-US" dirty="0"/>
              <a:t>The top-level component that includes interface and DUT instances. </a:t>
            </a:r>
          </a:p>
          <a:p>
            <a:pPr lvl="1"/>
            <a:r>
              <a:rPr lang="en-US" dirty="0"/>
              <a:t>The design is connected to the testbench in the Top model.</a:t>
            </a:r>
          </a:p>
          <a:p>
            <a:r>
              <a:rPr lang="en-US" dirty="0"/>
              <a:t>Efficient Verification Testbench</a:t>
            </a:r>
          </a:p>
          <a:p>
            <a:pPr lvl="1"/>
            <a:r>
              <a:rPr lang="en-US" dirty="0"/>
              <a:t>Layered.</a:t>
            </a:r>
          </a:p>
          <a:p>
            <a:pPr lvl="1"/>
            <a:r>
              <a:rPr lang="en-US" dirty="0"/>
              <a:t>Reusable.</a:t>
            </a:r>
          </a:p>
          <a:p>
            <a:pPr lvl="1"/>
            <a:r>
              <a:rPr lang="en-US" dirty="0"/>
              <a:t>Scalable.</a:t>
            </a:r>
          </a:p>
          <a:p>
            <a:pPr lvl="1"/>
            <a:r>
              <a:rPr lang="en-US" dirty="0"/>
              <a:t>Easier to maintain.</a:t>
            </a:r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EFDA23-2E89-0F78-9CF2-B505EBCB8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1EAE38-0C69-F28F-890F-E1F970CB1AB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FE259D-D7BC-451D-8780-113EDA7E6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1800" y="2464843"/>
            <a:ext cx="5109768" cy="250280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5118D09-B921-CE20-9CD5-C1F8D297EE19}"/>
              </a:ext>
            </a:extLst>
          </p:cNvPr>
          <p:cNvSpPr/>
          <p:nvPr/>
        </p:nvSpPr>
        <p:spPr>
          <a:xfrm>
            <a:off x="6654281" y="2133600"/>
            <a:ext cx="5187463" cy="304973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FC5A5-7BE9-5822-6243-983D53009DDA}"/>
              </a:ext>
            </a:extLst>
          </p:cNvPr>
          <p:cNvSpPr txBox="1"/>
          <p:nvPr/>
        </p:nvSpPr>
        <p:spPr>
          <a:xfrm>
            <a:off x="6665365" y="2199712"/>
            <a:ext cx="656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p</a:t>
            </a:r>
          </a:p>
        </p:txBody>
      </p:sp>
    </p:spTree>
    <p:extLst>
      <p:ext uri="{BB962C8B-B14F-4D97-AF65-F5344CB8AC3E}">
        <p14:creationId xmlns:p14="http://schemas.microsoft.com/office/powerpoint/2010/main" val="12802034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D98F4-0BA7-3361-BC77-9A061171C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DE94D32-CEBA-BA8E-6DA8-ECA8169C3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9D1081D-71AE-2F2A-81FE-5003A10C4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Basics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60817-1863-3F53-3230-CE22D3086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4EF1A6-78F5-7F58-BB6E-178CF93A2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5211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D5ED9FB-CD39-2888-B1A6-9051533A3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Lexical Conven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F07759A-35D0-8FB8-F383-B6F9ABA190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me as Verilog</a:t>
            </a:r>
          </a:p>
          <a:p>
            <a:r>
              <a:rPr lang="en-US" dirty="0"/>
              <a:t>Case sensitive identifiers (names)</a:t>
            </a:r>
          </a:p>
          <a:p>
            <a:pPr lvl="1"/>
            <a:r>
              <a:rPr lang="en-US" dirty="0"/>
              <a:t>Any sequence of letters, digits, $, and _</a:t>
            </a:r>
          </a:p>
          <a:p>
            <a:pPr lvl="2"/>
            <a:r>
              <a:rPr lang="en-US" dirty="0"/>
              <a:t>First character cannot be a digit or $</a:t>
            </a:r>
          </a:p>
          <a:p>
            <a:pPr lvl="1"/>
            <a:r>
              <a:rPr lang="en-US" dirty="0"/>
              <a:t>White spaces are ignored except within strings</a:t>
            </a:r>
          </a:p>
          <a:p>
            <a:r>
              <a:rPr lang="en-US" dirty="0"/>
              <a:t>Comments:</a:t>
            </a:r>
          </a:p>
          <a:p>
            <a:pPr lvl="1"/>
            <a:r>
              <a:rPr lang="en-US" dirty="0"/>
              <a:t>Single line // ….</a:t>
            </a:r>
          </a:p>
          <a:p>
            <a:pPr lvl="1"/>
            <a:r>
              <a:rPr lang="en-US" dirty="0"/>
              <a:t>Multiple lines /* …. */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CDB6C2-F2BF-12F2-124B-33AD6FE75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0EC0E-21BF-7463-15A3-DB18992A950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81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2E0D2-708A-07D8-E09F-AD7E54C313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DEC9A9A-EE75-D3D3-0603-836C8174C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Number Forma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961233F-36D8-1EAF-4087-67C3B47C35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umber format now supports </a:t>
            </a:r>
            <a:r>
              <a:rPr lang="en-US" i="1" dirty="0">
                <a:latin typeface="Abadi Extra Light" panose="020B0204020104020204" pitchFamily="34" charset="0"/>
              </a:rPr>
              <a:t>sign/unsigned </a:t>
            </a:r>
            <a:r>
              <a:rPr lang="en-US" dirty="0"/>
              <a:t>declaration</a:t>
            </a:r>
          </a:p>
          <a:p>
            <a:pPr lvl="1"/>
            <a:r>
              <a:rPr lang="en-US" dirty="0"/>
              <a:t>&lt;size&gt;’[</a:t>
            </a:r>
            <a:r>
              <a:rPr lang="en-US" dirty="0" err="1"/>
              <a:t>s|S</a:t>
            </a:r>
            <a:r>
              <a:rPr lang="en-US" dirty="0"/>
              <a:t>]b (binary)</a:t>
            </a:r>
          </a:p>
          <a:p>
            <a:pPr lvl="1"/>
            <a:r>
              <a:rPr lang="en-US" dirty="0"/>
              <a:t>&lt;size&gt;’[</a:t>
            </a:r>
            <a:r>
              <a:rPr lang="en-US" dirty="0" err="1"/>
              <a:t>s|S</a:t>
            </a:r>
            <a:r>
              <a:rPr lang="en-US" dirty="0"/>
              <a:t>]d (decimal)</a:t>
            </a:r>
          </a:p>
          <a:p>
            <a:pPr lvl="1"/>
            <a:r>
              <a:rPr lang="en-US" dirty="0"/>
              <a:t>&lt;size&gt;’[</a:t>
            </a:r>
            <a:r>
              <a:rPr lang="en-US" dirty="0" err="1"/>
              <a:t>s|S</a:t>
            </a:r>
            <a:r>
              <a:rPr lang="en-US" dirty="0"/>
              <a:t>]h (hexadecimal)</a:t>
            </a:r>
          </a:p>
          <a:p>
            <a:pPr lvl="1"/>
            <a:r>
              <a:rPr lang="en-US" dirty="0"/>
              <a:t>&lt;size&gt;’[</a:t>
            </a:r>
            <a:r>
              <a:rPr lang="en-US" dirty="0" err="1"/>
              <a:t>s|S</a:t>
            </a:r>
            <a:r>
              <a:rPr lang="en-US" dirty="0"/>
              <a:t>]o (octal)</a:t>
            </a:r>
          </a:p>
          <a:p>
            <a:pPr lvl="1"/>
            <a:r>
              <a:rPr lang="en-US" dirty="0"/>
              <a:t>Can be padded with ‘_’ for readability</a:t>
            </a:r>
          </a:p>
          <a:p>
            <a:r>
              <a:rPr lang="en-US" dirty="0"/>
              <a:t>Sign Conversion </a:t>
            </a:r>
          </a:p>
          <a:p>
            <a:pPr lvl="1"/>
            <a:r>
              <a:rPr lang="en-US" i="1" dirty="0">
                <a:solidFill>
                  <a:schemeClr val="bg2"/>
                </a:solidFill>
              </a:rPr>
              <a:t>signed</a:t>
            </a:r>
            <a:r>
              <a:rPr lang="en-US" i="1" dirty="0"/>
              <a:t>’(</a:t>
            </a:r>
            <a:r>
              <a:rPr lang="en-US" i="1" dirty="0" err="1"/>
              <a:t>myvar</a:t>
            </a:r>
            <a:r>
              <a:rPr lang="en-US" i="1" dirty="0"/>
              <a:t>);</a:t>
            </a:r>
          </a:p>
          <a:p>
            <a:pPr lvl="1"/>
            <a:r>
              <a:rPr lang="en-US" i="1" dirty="0">
                <a:solidFill>
                  <a:schemeClr val="bg2"/>
                </a:solidFill>
              </a:rPr>
              <a:t>unsigned</a:t>
            </a:r>
            <a:r>
              <a:rPr lang="en-US" i="1" dirty="0"/>
              <a:t>’(</a:t>
            </a:r>
            <a:r>
              <a:rPr lang="en-US" i="1" dirty="0" err="1"/>
              <a:t>myvar</a:t>
            </a:r>
            <a:r>
              <a:rPr lang="en-US" i="1" dirty="0"/>
              <a:t>);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922906-D790-0DAD-04F4-8836851EC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8921E0-5230-5AFB-6E68-EA3805A6B3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C04D57-77DF-7A8C-9648-57ACD2321820}"/>
              </a:ext>
            </a:extLst>
          </p:cNvPr>
          <p:cNvSpPr txBox="1"/>
          <p:nvPr/>
        </p:nvSpPr>
        <p:spPr>
          <a:xfrm>
            <a:off x="5257800" y="2940332"/>
            <a:ext cx="5943600" cy="31700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Abadi Extra Light" panose="020B0204020104020204" pitchFamily="34" charset="0"/>
              </a:rPr>
              <a:t>logic [7:0] </a:t>
            </a:r>
            <a:r>
              <a:rPr lang="en-US" sz="2000" b="1" dirty="0">
                <a:latin typeface="Abadi Extra Light" panose="020B0204020104020204" pitchFamily="34" charset="0"/>
              </a:rPr>
              <a:t>my value; //defaults to unsigned</a:t>
            </a:r>
          </a:p>
          <a:p>
            <a:endParaRPr lang="en-US" sz="2000" b="1" dirty="0">
              <a:latin typeface="Abadi Extra Light" panose="020B0204020104020204" pitchFamily="34" charset="0"/>
            </a:endParaRPr>
          </a:p>
          <a:p>
            <a:r>
              <a:rPr lang="en-US" sz="2000" b="1" dirty="0" err="1">
                <a:latin typeface="Abadi Extra Light" panose="020B0204020104020204" pitchFamily="34" charset="0"/>
              </a:rPr>
              <a:t>my_value</a:t>
            </a:r>
            <a:r>
              <a:rPr lang="en-US" sz="2000" b="1" dirty="0">
                <a:latin typeface="Abadi Extra Light" panose="020B0204020104020204" pitchFamily="34" charset="0"/>
              </a:rPr>
              <a:t> = 8’b1; 	    // 8’b0000_0001 (unsigned)</a:t>
            </a:r>
          </a:p>
          <a:p>
            <a:r>
              <a:rPr lang="en-US" sz="2000" b="1" dirty="0" err="1">
                <a:latin typeface="Abadi Extra Light" panose="020B0204020104020204" pitchFamily="34" charset="0"/>
              </a:rPr>
              <a:t>my_value</a:t>
            </a:r>
            <a:r>
              <a:rPr lang="en-US" sz="2000" b="1" dirty="0">
                <a:latin typeface="Abadi Extra Light" panose="020B0204020104020204" pitchFamily="34" charset="0"/>
              </a:rPr>
              <a:t> = 8’sb1;    // 8’b0000_0001 (signed)</a:t>
            </a:r>
          </a:p>
          <a:p>
            <a:endParaRPr lang="en-US" sz="2000" b="1" dirty="0">
              <a:latin typeface="Abadi Extra Light" panose="020B0204020104020204" pitchFamily="34" charset="0"/>
            </a:endParaRPr>
          </a:p>
          <a:p>
            <a:r>
              <a:rPr lang="en-US" sz="2000" b="1" dirty="0">
                <a:latin typeface="Abadi Extra Light" panose="020B0204020104020204" pitchFamily="34" charset="0"/>
              </a:rPr>
              <a:t>//unsized padding of bits</a:t>
            </a:r>
          </a:p>
          <a:p>
            <a:endParaRPr lang="en-US" sz="2000" b="1" dirty="0">
              <a:latin typeface="Abadi Extra Light" panose="020B0204020104020204" pitchFamily="34" charset="0"/>
            </a:endParaRPr>
          </a:p>
          <a:p>
            <a:r>
              <a:rPr lang="en-US" sz="2000" b="1" dirty="0" err="1">
                <a:latin typeface="Abadi Extra Light" panose="020B0204020104020204" pitchFamily="34" charset="0"/>
              </a:rPr>
              <a:t>my_value</a:t>
            </a:r>
            <a:r>
              <a:rPr lang="en-US" sz="2000" b="1" dirty="0">
                <a:latin typeface="Abadi Extra Light" panose="020B0204020104020204" pitchFamily="34" charset="0"/>
              </a:rPr>
              <a:t> = ‘1;         //8’b1111_1111</a:t>
            </a:r>
          </a:p>
          <a:p>
            <a:endParaRPr lang="en-US" sz="2000" b="1" dirty="0">
              <a:latin typeface="Abadi Extra Light" panose="020B0204020104020204" pitchFamily="34" charset="0"/>
            </a:endParaRPr>
          </a:p>
          <a:p>
            <a:endParaRPr lang="en-US" sz="2000" b="1" dirty="0">
              <a:latin typeface="Abadi Extra Light" panose="020B02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7365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D35FA-6F2D-65CB-E5B8-713A040E8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70B703-BDF6-19AF-098D-B9F2283F89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introduces new data types with the following benefits.</a:t>
            </a:r>
          </a:p>
          <a:p>
            <a:pPr lvl="1"/>
            <a:r>
              <a:rPr lang="en-US" sz="2000" b="1" dirty="0"/>
              <a:t>Two-state</a:t>
            </a:r>
            <a:r>
              <a:rPr lang="en-US" sz="2000" dirty="0"/>
              <a:t>: better performance, reduced memory usage</a:t>
            </a:r>
          </a:p>
          <a:p>
            <a:pPr lvl="1"/>
            <a:r>
              <a:rPr lang="en-US" sz="2000" b="1" dirty="0"/>
              <a:t>Queues</a:t>
            </a:r>
            <a:r>
              <a:rPr lang="en-US" sz="2000" dirty="0"/>
              <a:t>, </a:t>
            </a:r>
            <a:r>
              <a:rPr lang="en-US" sz="2000" b="1" dirty="0"/>
              <a:t>dynamic</a:t>
            </a:r>
            <a:r>
              <a:rPr lang="en-US" sz="2000" dirty="0"/>
              <a:t> and </a:t>
            </a:r>
            <a:r>
              <a:rPr lang="en-US" sz="2000" b="1" dirty="0"/>
              <a:t>associative</a:t>
            </a:r>
            <a:r>
              <a:rPr lang="en-US" sz="2000" dirty="0"/>
              <a:t> </a:t>
            </a:r>
            <a:r>
              <a:rPr lang="en-US" sz="2000" b="1" dirty="0"/>
              <a:t>arrays</a:t>
            </a:r>
            <a:r>
              <a:rPr lang="en-US" sz="2000" dirty="0"/>
              <a:t> and </a:t>
            </a:r>
            <a:r>
              <a:rPr lang="en-US" sz="2000" b="1" dirty="0"/>
              <a:t>automatic</a:t>
            </a:r>
            <a:r>
              <a:rPr lang="en-US" sz="2000" dirty="0"/>
              <a:t> </a:t>
            </a:r>
            <a:r>
              <a:rPr lang="en-US" sz="2000" b="1" dirty="0"/>
              <a:t>storage</a:t>
            </a:r>
            <a:r>
              <a:rPr lang="en-US" sz="2000" dirty="0"/>
              <a:t>: reduced memory usage, built-in support for searching and sorting</a:t>
            </a:r>
          </a:p>
          <a:p>
            <a:pPr lvl="1"/>
            <a:r>
              <a:rPr lang="en-US" sz="2000" b="1" dirty="0"/>
              <a:t>Unions</a:t>
            </a:r>
            <a:r>
              <a:rPr lang="en-US" sz="2000" dirty="0"/>
              <a:t> and </a:t>
            </a:r>
            <a:r>
              <a:rPr lang="en-US" sz="2000" b="1" dirty="0"/>
              <a:t>packed</a:t>
            </a:r>
            <a:r>
              <a:rPr lang="en-US" sz="2000" dirty="0"/>
              <a:t> </a:t>
            </a:r>
            <a:r>
              <a:rPr lang="en-US" sz="2000" b="1" dirty="0"/>
              <a:t>structures</a:t>
            </a:r>
            <a:r>
              <a:rPr lang="en-US" sz="2000" dirty="0"/>
              <a:t>: allows multiple views of the same data</a:t>
            </a:r>
          </a:p>
          <a:p>
            <a:pPr lvl="1"/>
            <a:r>
              <a:rPr lang="en-US" sz="2000" b="1" dirty="0"/>
              <a:t>Classes</a:t>
            </a:r>
            <a:r>
              <a:rPr lang="en-US" sz="2000" dirty="0"/>
              <a:t> and </a:t>
            </a:r>
            <a:r>
              <a:rPr lang="en-US" sz="2000" b="1" dirty="0"/>
              <a:t>structures</a:t>
            </a:r>
            <a:r>
              <a:rPr lang="en-US" sz="2000" dirty="0"/>
              <a:t>: support for abstract data structures</a:t>
            </a:r>
          </a:p>
          <a:p>
            <a:pPr lvl="1"/>
            <a:r>
              <a:rPr lang="en-US" sz="2000" b="1" dirty="0"/>
              <a:t>Strings</a:t>
            </a:r>
            <a:r>
              <a:rPr lang="en-US" sz="2000" dirty="0"/>
              <a:t>: built-in string support</a:t>
            </a:r>
          </a:p>
          <a:p>
            <a:pPr lvl="1"/>
            <a:r>
              <a:rPr lang="en-US" sz="2000" b="1" dirty="0"/>
              <a:t>Enumerated</a:t>
            </a:r>
            <a:r>
              <a:rPr lang="en-US" sz="2000" dirty="0"/>
              <a:t> types: code is easier to write and understan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9BED1D-728E-1AD3-0234-E96282AA1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844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098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Digital IC Verification 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22B844-A1C0-612F-3173-4F57B691C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658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53587C-D27D-0E8C-5EA7-9E4285CCFA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FB29B-F31B-7B0D-88D1-FE217C005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903703-EAC8-342E-3336-E87698E67B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type is a storage format having a specific range or type.</a:t>
            </a:r>
          </a:p>
          <a:p>
            <a:pPr lvl="1"/>
            <a:r>
              <a:rPr lang="en-US" sz="2400" dirty="0"/>
              <a:t>Two states data type, each bit is </a:t>
            </a:r>
          </a:p>
          <a:p>
            <a:pPr lvl="2"/>
            <a:r>
              <a:rPr lang="en-US" sz="2000" dirty="0"/>
              <a:t>Logic 0 </a:t>
            </a:r>
          </a:p>
          <a:p>
            <a:pPr lvl="2"/>
            <a:r>
              <a:rPr lang="en-US" sz="2000" dirty="0"/>
              <a:t>Logic 1</a:t>
            </a:r>
          </a:p>
          <a:p>
            <a:pPr lvl="1"/>
            <a:r>
              <a:rPr lang="en-US" sz="2400" dirty="0"/>
              <a:t>Four states data type, each bit is </a:t>
            </a:r>
          </a:p>
          <a:p>
            <a:pPr lvl="2"/>
            <a:r>
              <a:rPr lang="en-US" sz="2000" dirty="0"/>
              <a:t>Logic 0 </a:t>
            </a:r>
          </a:p>
          <a:p>
            <a:pPr lvl="2"/>
            <a:r>
              <a:rPr lang="en-US" sz="2000" dirty="0"/>
              <a:t>Logic 1</a:t>
            </a:r>
          </a:p>
          <a:p>
            <a:pPr lvl="2"/>
            <a:r>
              <a:rPr lang="en-US" sz="2000" dirty="0"/>
              <a:t>Logic X; unknown (either 0/1)</a:t>
            </a:r>
          </a:p>
          <a:p>
            <a:pPr lvl="2"/>
            <a:r>
              <a:rPr lang="en-US" sz="2000" dirty="0"/>
              <a:t>Logic Z; high impedance (floating)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4C0980-8120-824C-5B73-6C094712C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8108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F965F-6246-89C9-5FBD-3C23A188B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AE28D-F455-4DFF-D65C-DBDE8C036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Four State (0|1|X|Z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3B9491-4821-E8F5-211E-5AD674266B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reg</a:t>
            </a:r>
            <a:r>
              <a:rPr lang="en-US" dirty="0">
                <a:latin typeface="Abadi Extra Light" panose="020B0204020104020204" pitchFamily="34" charset="0"/>
              </a:rPr>
              <a:t> | </a:t>
            </a: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logic</a:t>
            </a:r>
            <a:r>
              <a:rPr lang="en-US" dirty="0">
                <a:latin typeface="Abadi Extra Light" panose="020B0204020104020204" pitchFamily="34" charset="0"/>
              </a:rPr>
              <a:t> [</a:t>
            </a:r>
            <a:r>
              <a:rPr lang="en-US" dirty="0" err="1">
                <a:latin typeface="Abadi Extra Light" panose="020B0204020104020204" pitchFamily="34" charset="0"/>
              </a:rPr>
              <a:t>msb:lsb</a:t>
            </a:r>
            <a:r>
              <a:rPr lang="en-US" dirty="0">
                <a:latin typeface="Abadi Extra Light" panose="020B0204020104020204" pitchFamily="34" charset="0"/>
              </a:rPr>
              <a:t>]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  <a:endParaRPr lang="en-US" dirty="0"/>
          </a:p>
          <a:p>
            <a:r>
              <a:rPr lang="en-US" dirty="0"/>
              <a:t>4-state data type: </a:t>
            </a:r>
            <a:r>
              <a:rPr lang="en-US" dirty="0">
                <a:solidFill>
                  <a:schemeClr val="bg2"/>
                </a:solidFill>
              </a:rPr>
              <a:t>logic</a:t>
            </a:r>
            <a:r>
              <a:rPr lang="en-US" dirty="0"/>
              <a:t> | </a:t>
            </a:r>
            <a:r>
              <a:rPr lang="en-US" dirty="0">
                <a:solidFill>
                  <a:schemeClr val="bg2"/>
                </a:solidFill>
              </a:rPr>
              <a:t>reg</a:t>
            </a:r>
          </a:p>
          <a:p>
            <a:pPr lvl="1"/>
            <a:r>
              <a:rPr lang="en-US" sz="2000" dirty="0"/>
              <a:t>reg and logic are synonyms</a:t>
            </a:r>
          </a:p>
          <a:p>
            <a:pPr lvl="1"/>
            <a:r>
              <a:rPr lang="en-US" sz="2000" dirty="0" err="1"/>
              <a:t>SystemVerilog</a:t>
            </a:r>
            <a:r>
              <a:rPr lang="en-US" sz="2000" dirty="0"/>
              <a:t> improves the classic </a:t>
            </a:r>
            <a:r>
              <a:rPr lang="en-US" sz="2000" dirty="0">
                <a:solidFill>
                  <a:schemeClr val="bg2"/>
                </a:solidFill>
              </a:rPr>
              <a:t>reg</a:t>
            </a:r>
            <a:r>
              <a:rPr lang="en-US" sz="2000" dirty="0"/>
              <a:t> to have the following features:</a:t>
            </a:r>
          </a:p>
          <a:p>
            <a:pPr lvl="2"/>
            <a:r>
              <a:rPr lang="en-US" sz="2000" dirty="0"/>
              <a:t>It can be driven by continuous assignments, gates, and modules, in addition to being a variable.</a:t>
            </a:r>
          </a:p>
          <a:p>
            <a:pPr lvl="2"/>
            <a:r>
              <a:rPr lang="en-US" sz="2000" dirty="0"/>
              <a:t>It is given the new name logic so that it does not look like a register declaration.</a:t>
            </a:r>
          </a:p>
          <a:p>
            <a:r>
              <a:rPr lang="en-US" dirty="0"/>
              <a:t>Initialized to ‘x if initial value is not specified</a:t>
            </a:r>
          </a:p>
          <a:p>
            <a:r>
              <a:rPr lang="en-US" dirty="0"/>
              <a:t>Defaults to unsign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EA5974-1615-8F2B-BC0B-DC8CF615B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95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724CC6-F715-02C6-0823-AD163B63C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CAA36-51EF-F36A-E533-BF55E5FA4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Four State (0|1|X|Z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3B8B78-85F3-6BD8-4FCB-BDF594EF68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ized 4-state variable: integer, time</a:t>
            </a:r>
            <a:endParaRPr lang="en-US" dirty="0">
              <a:solidFill>
                <a:schemeClr val="bg2"/>
              </a:solidFill>
              <a:latin typeface="Abadi Extra Light" panose="020B0204020104020204" pitchFamily="34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integer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  <a:endParaRPr lang="en-US" dirty="0"/>
          </a:p>
          <a:p>
            <a:pPr lvl="1"/>
            <a:r>
              <a:rPr lang="en-US" sz="1800" dirty="0"/>
              <a:t>32-bit signed</a:t>
            </a:r>
          </a:p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time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pPr lvl="1"/>
            <a:r>
              <a:rPr lang="en-US" sz="1800" dirty="0"/>
              <a:t>64-bit sign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2C87F8-DEB2-AB95-E207-8504509D0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B4033E-3594-DC84-A07E-A4BD385D377F}"/>
              </a:ext>
            </a:extLst>
          </p:cNvPr>
          <p:cNvSpPr txBox="1"/>
          <p:nvPr/>
        </p:nvSpPr>
        <p:spPr>
          <a:xfrm>
            <a:off x="5105400" y="3672685"/>
            <a:ext cx="5943600" cy="22467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Abadi Extra Light" panose="020B0204020104020204" pitchFamily="34" charset="0"/>
              </a:rPr>
              <a:t>integer  </a:t>
            </a:r>
            <a:r>
              <a:rPr lang="en-US" sz="2000" b="1" dirty="0">
                <a:latin typeface="Abadi Extra Light" panose="020B0204020104020204" pitchFamily="34" charset="0"/>
              </a:rPr>
              <a:t>a = - b;</a:t>
            </a:r>
          </a:p>
          <a:p>
            <a:r>
              <a:rPr lang="en-US" sz="2000" b="1" dirty="0">
                <a:solidFill>
                  <a:schemeClr val="bg2"/>
                </a:solidFill>
                <a:latin typeface="Abadi Extra Light" panose="020B0204020104020204" pitchFamily="34" charset="0"/>
              </a:rPr>
              <a:t>time </a:t>
            </a:r>
            <a:r>
              <a:rPr lang="en-US" sz="2000" b="1" dirty="0" err="1">
                <a:latin typeface="Abadi Extra Light" panose="020B0204020104020204" pitchFamily="34" charset="0"/>
              </a:rPr>
              <a:t>current_time</a:t>
            </a:r>
            <a:r>
              <a:rPr lang="en-US" sz="2000" b="1" dirty="0">
                <a:latin typeface="Abadi Extra Light" panose="020B0204020104020204" pitchFamily="34" charset="0"/>
              </a:rPr>
              <a:t>;</a:t>
            </a:r>
          </a:p>
          <a:p>
            <a:r>
              <a:rPr lang="en-US" sz="2000" b="1" dirty="0">
                <a:latin typeface="Abadi Extra Light" panose="020B0204020104020204" pitchFamily="34" charset="0"/>
              </a:rPr>
              <a:t>b = -a;</a:t>
            </a:r>
          </a:p>
          <a:p>
            <a:r>
              <a:rPr lang="en-US" sz="2000" b="1" dirty="0" err="1">
                <a:latin typeface="Abadi Extra Light" panose="020B0204020104020204" pitchFamily="34" charset="0"/>
              </a:rPr>
              <a:t>current_time</a:t>
            </a:r>
            <a:r>
              <a:rPr lang="en-US" sz="2000" b="1" dirty="0">
                <a:latin typeface="Abadi Extra Light" panose="020B0204020104020204" pitchFamily="34" charset="0"/>
              </a:rPr>
              <a:t> = $time;</a:t>
            </a:r>
          </a:p>
          <a:p>
            <a:r>
              <a:rPr lang="en-US" sz="2000" b="1" dirty="0">
                <a:latin typeface="Abadi Extra Light" panose="020B0204020104020204" pitchFamily="34" charset="0"/>
              </a:rPr>
              <a:t>If (</a:t>
            </a:r>
            <a:r>
              <a:rPr lang="en-US" sz="2000" b="1" dirty="0" err="1">
                <a:latin typeface="Abadi Extra Light" panose="020B0204020104020204" pitchFamily="34" charset="0"/>
              </a:rPr>
              <a:t>current_time</a:t>
            </a:r>
            <a:r>
              <a:rPr lang="en-US" sz="2000" b="1" dirty="0">
                <a:latin typeface="Abadi Extra Light" panose="020B0204020104020204" pitchFamily="34" charset="0"/>
              </a:rPr>
              <a:t> &gt;= 100ms) ….. ;</a:t>
            </a:r>
          </a:p>
          <a:p>
            <a:endParaRPr lang="en-US" sz="2000" b="1" dirty="0">
              <a:latin typeface="Abadi Extra Light" panose="020B0204020104020204" pitchFamily="34" charset="0"/>
            </a:endParaRPr>
          </a:p>
          <a:p>
            <a:endParaRPr lang="en-US" sz="2000" b="1" dirty="0">
              <a:latin typeface="Abadi Extra Light" panose="020B02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1270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30E0A-7B57-A20D-0639-1C9A298B5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AD6D9-24DB-9A1B-4D2A-BDC89D89B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Two State (0|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0908CC-7879-D16E-E5C1-EA224CAF9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bit</a:t>
            </a:r>
            <a:r>
              <a:rPr lang="en-US" dirty="0">
                <a:latin typeface="Abadi Extra Light" panose="020B0204020104020204" pitchFamily="34" charset="0"/>
              </a:rPr>
              <a:t> [</a:t>
            </a:r>
            <a:r>
              <a:rPr lang="en-US" dirty="0" err="1">
                <a:latin typeface="Abadi Extra Light" panose="020B0204020104020204" pitchFamily="34" charset="0"/>
              </a:rPr>
              <a:t>msb:lsb</a:t>
            </a:r>
            <a:r>
              <a:rPr lang="en-US" dirty="0">
                <a:latin typeface="Abadi Extra Light" panose="020B0204020104020204" pitchFamily="34" charset="0"/>
              </a:rPr>
              <a:t>]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r>
              <a:rPr lang="en-US" dirty="0"/>
              <a:t>Better compiler optimizations for better performance</a:t>
            </a:r>
          </a:p>
          <a:p>
            <a:r>
              <a:rPr lang="en-US" dirty="0"/>
              <a:t>Variable initialized to ‘0 if </a:t>
            </a:r>
            <a:r>
              <a:rPr lang="en-US" dirty="0" err="1"/>
              <a:t>initial_value</a:t>
            </a:r>
            <a:r>
              <a:rPr lang="en-US" dirty="0"/>
              <a:t> is not specified</a:t>
            </a:r>
          </a:p>
          <a:p>
            <a:r>
              <a:rPr lang="en-US" dirty="0"/>
              <a:t>Assigned 0 for x or z value assignments</a:t>
            </a:r>
          </a:p>
          <a:p>
            <a:pPr lvl="1"/>
            <a:r>
              <a:rPr lang="en-US" sz="1800" dirty="0"/>
              <a:t>Sized as specified</a:t>
            </a:r>
          </a:p>
          <a:p>
            <a:pPr lvl="1"/>
            <a:r>
              <a:rPr lang="en-US" sz="1800" dirty="0"/>
              <a:t>Defaults to unsign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DCFFB1-F896-141C-B5C5-C68D12582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6626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2198B8-D93B-4292-F63B-58309B23B8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554F3-C9B9-9829-6922-9E62F833B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Two State (0|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68700-0F83-23B3-6C88-D57D4A8716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2-state-type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pPr marL="0" indent="0">
              <a:buNone/>
            </a:pP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0CA029-C9A7-DED7-E2F1-29A539957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541118A-F1A7-6865-4F40-BD5E9660CF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837863"/>
              </p:ext>
            </p:extLst>
          </p:nvPr>
        </p:nvGraphicFramePr>
        <p:xfrm>
          <a:off x="2133600" y="2057400"/>
          <a:ext cx="6022267" cy="321367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183895">
                  <a:extLst>
                    <a:ext uri="{9D8B030D-6E8A-4147-A177-3AD203B41FA5}">
                      <a16:colId xmlns:a16="http://schemas.microsoft.com/office/drawing/2014/main" val="1744628481"/>
                    </a:ext>
                  </a:extLst>
                </a:gridCol>
                <a:gridCol w="2136618">
                  <a:extLst>
                    <a:ext uri="{9D8B030D-6E8A-4147-A177-3AD203B41FA5}">
                      <a16:colId xmlns:a16="http://schemas.microsoft.com/office/drawing/2014/main" val="2575708621"/>
                    </a:ext>
                  </a:extLst>
                </a:gridCol>
                <a:gridCol w="2701754">
                  <a:extLst>
                    <a:ext uri="{9D8B030D-6E8A-4147-A177-3AD203B41FA5}">
                      <a16:colId xmlns:a16="http://schemas.microsoft.com/office/drawing/2014/main" val="3680417303"/>
                    </a:ext>
                  </a:extLst>
                </a:gridCol>
              </a:tblGrid>
              <a:tr h="508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dirty="0">
                          <a:effectLst/>
                        </a:rPr>
                        <a:t>Typ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dirty="0">
                          <a:effectLst/>
                        </a:rPr>
                        <a:t>Descriptio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dirty="0">
                          <a:effectLst/>
                        </a:rPr>
                        <a:t>Example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824416049"/>
                  </a:ext>
                </a:extLst>
              </a:tr>
              <a:tr h="669225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bi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user-determined rang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bit [3:0] </a:t>
                      </a:r>
                      <a:r>
                        <a:rPr lang="en-US" sz="1600" b="0" dirty="0" err="1">
                          <a:effectLst/>
                        </a:rPr>
                        <a:t>a_var</a:t>
                      </a:r>
                      <a:r>
                        <a:rPr lang="en-US" sz="1600" b="0" dirty="0">
                          <a:effectLst/>
                        </a:rPr>
                        <a:t>;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34902039"/>
                  </a:ext>
                </a:extLst>
              </a:tr>
              <a:tr h="508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byt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8 bits, signed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byte a, b;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65993476"/>
                  </a:ext>
                </a:extLst>
              </a:tr>
              <a:tr h="508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 err="1">
                          <a:effectLst/>
                        </a:rPr>
                        <a:t>shortint</a:t>
                      </a:r>
                      <a:endParaRPr lang="en-US" sz="1600" b="0" dirty="0">
                        <a:effectLst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16 bits, signed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 err="1">
                          <a:effectLst/>
                        </a:rPr>
                        <a:t>shortint</a:t>
                      </a:r>
                      <a:r>
                        <a:rPr lang="en-US" sz="1600" b="0" dirty="0">
                          <a:effectLst/>
                        </a:rPr>
                        <a:t> c, d;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00463372"/>
                  </a:ext>
                </a:extLst>
              </a:tr>
              <a:tr h="508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>
                          <a:effectLst/>
                        </a:rPr>
                        <a:t>in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>
                          <a:effectLst/>
                        </a:rPr>
                        <a:t>32 bits, signed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int </a:t>
                      </a:r>
                      <a:r>
                        <a:rPr lang="en-US" sz="1600" b="0" dirty="0" err="1">
                          <a:effectLst/>
                        </a:rPr>
                        <a:t>i,j</a:t>
                      </a:r>
                      <a:r>
                        <a:rPr lang="en-US" sz="1600" b="0" dirty="0">
                          <a:effectLst/>
                        </a:rPr>
                        <a:t>;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10503085"/>
                  </a:ext>
                </a:extLst>
              </a:tr>
              <a:tr h="508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>
                          <a:effectLst/>
                        </a:rPr>
                        <a:t>longint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64 bits, signed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 err="1">
                          <a:effectLst/>
                        </a:rPr>
                        <a:t>longint</a:t>
                      </a:r>
                      <a:r>
                        <a:rPr lang="en-US" sz="1600" b="0" dirty="0">
                          <a:effectLst/>
                        </a:rPr>
                        <a:t> </a:t>
                      </a:r>
                      <a:r>
                        <a:rPr lang="en-US" sz="1600" b="0" dirty="0" err="1">
                          <a:effectLst/>
                        </a:rPr>
                        <a:t>lword</a:t>
                      </a:r>
                      <a:r>
                        <a:rPr lang="en-US" sz="1600" b="0" dirty="0">
                          <a:effectLst/>
                        </a:rPr>
                        <a:t>;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32401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05298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FE9F5E-E33F-3B11-8E83-61B7E304B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D3450-0A81-22BF-0984-65CB49C7C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Two State (0|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2085CE-2EAB-D5C8-F3B0-F36194C34E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2-state-type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pPr marL="0" indent="0">
              <a:buNone/>
            </a:pP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93E4DA-A5F4-819C-16D7-88AD94830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F98F274-C810-D930-FDD7-B049EECF9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736293"/>
              </p:ext>
            </p:extLst>
          </p:nvPr>
        </p:nvGraphicFramePr>
        <p:xfrm>
          <a:off x="2438400" y="2362200"/>
          <a:ext cx="5852458" cy="215159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619544">
                  <a:extLst>
                    <a:ext uri="{9D8B030D-6E8A-4147-A177-3AD203B41FA5}">
                      <a16:colId xmlns:a16="http://schemas.microsoft.com/office/drawing/2014/main" val="1744628481"/>
                    </a:ext>
                  </a:extLst>
                </a:gridCol>
                <a:gridCol w="2200465">
                  <a:extLst>
                    <a:ext uri="{9D8B030D-6E8A-4147-A177-3AD203B41FA5}">
                      <a16:colId xmlns:a16="http://schemas.microsoft.com/office/drawing/2014/main" val="2575708621"/>
                    </a:ext>
                  </a:extLst>
                </a:gridCol>
                <a:gridCol w="2032449">
                  <a:extLst>
                    <a:ext uri="{9D8B030D-6E8A-4147-A177-3AD203B41FA5}">
                      <a16:colId xmlns:a16="http://schemas.microsoft.com/office/drawing/2014/main" val="3680417303"/>
                    </a:ext>
                  </a:extLst>
                </a:gridCol>
              </a:tblGrid>
              <a:tr h="537898">
                <a:tc>
                  <a:txBody>
                    <a:bodyPr/>
                    <a:lstStyle/>
                    <a:p>
                      <a:pPr algn="ctr" fontAlgn="t"/>
                      <a:r>
                        <a:rPr lang="en-US" b="1" dirty="0">
                          <a:effectLst/>
                        </a:rPr>
                        <a:t>Typ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b="1" dirty="0">
                          <a:effectLst/>
                        </a:rPr>
                        <a:t>Descriptio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b="1" dirty="0">
                          <a:effectLst/>
                        </a:rPr>
                        <a:t>Example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824416049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 err="1">
                          <a:effectLst/>
                        </a:rPr>
                        <a:t>shortreal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like float in C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 err="1">
                          <a:effectLst/>
                        </a:rPr>
                        <a:t>shortreal</a:t>
                      </a:r>
                      <a:r>
                        <a:rPr lang="en-US" sz="1600" b="0" dirty="0">
                          <a:effectLst/>
                        </a:rPr>
                        <a:t> f;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00463372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>
                          <a:effectLst/>
                        </a:rPr>
                        <a:t>real</a:t>
                      </a:r>
                      <a:endParaRPr lang="en-US" sz="1600" b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like double in C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real g;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10503085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>
                          <a:effectLst/>
                        </a:rPr>
                        <a:t>realtime</a:t>
                      </a:r>
                      <a:endParaRPr lang="en-US" sz="1600" b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>
                          <a:effectLst/>
                        </a:rPr>
                        <a:t>identical to real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dirty="0" err="1">
                          <a:effectLst/>
                        </a:rPr>
                        <a:t>realtime</a:t>
                      </a:r>
                      <a:r>
                        <a:rPr lang="en-US" sz="1600" b="0" dirty="0">
                          <a:effectLst/>
                        </a:rPr>
                        <a:t> now;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32401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67463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4115A7-E9A0-1FEB-1D42-58B6DBCE7C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F0651-3273-95CA-0661-EADCAB9C7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String Data Ty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4089B7-8706-335A-DC5B-F7901A3D21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string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r>
              <a:rPr lang="en-US" sz="2400" dirty="0"/>
              <a:t>Defaults to empty String “”</a:t>
            </a:r>
          </a:p>
          <a:p>
            <a:r>
              <a:rPr lang="en-US" sz="2400" dirty="0"/>
              <a:t>Can be created with $</a:t>
            </a:r>
            <a:r>
              <a:rPr lang="en-US" sz="2400" dirty="0" err="1"/>
              <a:t>sformatf</a:t>
            </a:r>
            <a:r>
              <a:rPr lang="en-US" sz="2400" dirty="0"/>
              <a:t>() system function</a:t>
            </a:r>
          </a:p>
          <a:p>
            <a:r>
              <a:rPr lang="en-US" sz="2400" dirty="0"/>
              <a:t>Built-in operators and methods:</a:t>
            </a:r>
          </a:p>
          <a:p>
            <a:pPr lvl="1"/>
            <a:r>
              <a:rPr lang="en-US" dirty="0"/>
              <a:t>==, !=, compare () and </a:t>
            </a:r>
            <a:r>
              <a:rPr lang="en-US" dirty="0" err="1"/>
              <a:t>icompare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Itoa</a:t>
            </a:r>
            <a:r>
              <a:rPr lang="en-US" dirty="0"/>
              <a:t> (), </a:t>
            </a:r>
            <a:r>
              <a:rPr lang="en-US" dirty="0" err="1"/>
              <a:t>atoi</a:t>
            </a:r>
            <a:r>
              <a:rPr lang="en-US" dirty="0"/>
              <a:t>, </a:t>
            </a:r>
            <a:r>
              <a:rPr lang="en-US" dirty="0" err="1"/>
              <a:t>atohex</a:t>
            </a:r>
            <a:r>
              <a:rPr lang="en-US" dirty="0"/>
              <a:t> () , </a:t>
            </a:r>
            <a:r>
              <a:rPr lang="en-US" dirty="0" err="1"/>
              <a:t>toupper</a:t>
            </a:r>
            <a:r>
              <a:rPr lang="en-US" dirty="0"/>
              <a:t> (), </a:t>
            </a:r>
            <a:r>
              <a:rPr lang="en-US" dirty="0" err="1"/>
              <a:t>tolower</a:t>
            </a:r>
            <a:r>
              <a:rPr lang="en-US" dirty="0"/>
              <a:t> (), etc.</a:t>
            </a:r>
          </a:p>
          <a:p>
            <a:pPr lvl="1"/>
            <a:r>
              <a:rPr lang="en-US" dirty="0" err="1"/>
              <a:t>len</a:t>
            </a:r>
            <a:r>
              <a:rPr lang="en-US" dirty="0"/>
              <a:t> (), </a:t>
            </a:r>
            <a:r>
              <a:rPr lang="en-US" dirty="0" err="1"/>
              <a:t>getc</a:t>
            </a:r>
            <a:r>
              <a:rPr lang="en-US" dirty="0"/>
              <a:t> (), </a:t>
            </a:r>
            <a:r>
              <a:rPr lang="en-US" dirty="0" err="1"/>
              <a:t>putc</a:t>
            </a:r>
            <a:r>
              <a:rPr lang="en-US" dirty="0"/>
              <a:t> (), </a:t>
            </a:r>
            <a:r>
              <a:rPr lang="en-US" dirty="0" err="1"/>
              <a:t>substr</a:t>
            </a:r>
            <a:r>
              <a:rPr lang="en-US" dirty="0"/>
              <a:t> ()</a:t>
            </a:r>
          </a:p>
          <a:p>
            <a:pPr marL="0" indent="0">
              <a:buNone/>
            </a:pP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732D77-A562-7C0D-FEEA-118E3B79C2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864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A7065-638B-1C21-A268-B599D1B2D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45002-7B47-357B-0D68-6EC8AA6E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String Data Ty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10986-E8AE-B2EB-E567-A734FC7130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string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pPr marL="0" indent="0">
              <a:buNone/>
            </a:pP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D401B-BCC1-D482-A7A5-AD91B0817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5D1465-104D-F9DA-430E-48CB429AD0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5234" y="1600200"/>
            <a:ext cx="7452166" cy="5017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1719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2252BD-5EBB-EE70-B5B1-B34CC9CF3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74608-CE23-62DE-2573-EDC580BE8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String Data Ty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F77C7-1568-AB57-72A7-88ECFEAC50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  <a:latin typeface="Abadi Extra Light" panose="020B0204020104020204" pitchFamily="34" charset="0"/>
              </a:rPr>
              <a:t>string</a:t>
            </a:r>
            <a:r>
              <a:rPr lang="en-US" dirty="0">
                <a:latin typeface="Abadi Extra Light" panose="020B0204020104020204" pitchFamily="34" charset="0"/>
              </a:rPr>
              <a:t> </a:t>
            </a:r>
            <a:r>
              <a:rPr lang="en-US" dirty="0" err="1">
                <a:latin typeface="Abadi Extra Light" panose="020B0204020104020204" pitchFamily="34" charset="0"/>
              </a:rPr>
              <a:t>variable_name</a:t>
            </a:r>
            <a:r>
              <a:rPr lang="en-US" dirty="0">
                <a:latin typeface="Abadi Extra Light" panose="020B0204020104020204" pitchFamily="34" charset="0"/>
              </a:rPr>
              <a:t> [=</a:t>
            </a:r>
            <a:r>
              <a:rPr lang="en-US" dirty="0" err="1">
                <a:latin typeface="Abadi Extra Light" panose="020B0204020104020204" pitchFamily="34" charset="0"/>
              </a:rPr>
              <a:t>initial_value</a:t>
            </a:r>
            <a:r>
              <a:rPr lang="en-US" dirty="0">
                <a:latin typeface="Abadi Extra Light" panose="020B0204020104020204" pitchFamily="34" charset="0"/>
              </a:rPr>
              <a:t>];</a:t>
            </a:r>
          </a:p>
          <a:p>
            <a:pPr marL="0" indent="0">
              <a:buNone/>
            </a:pP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BDD5F6-1186-540D-F1A5-297CD6515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A6573C-F509-9F62-9ADE-DFD74AB96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200" y="1828800"/>
            <a:ext cx="6484244" cy="3965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162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4FB53-967E-F06B-BC54-25F997E759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9442C-7F0E-4E41-E176-79AC56329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String Data Ty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DAB2FD-CF40-22F2-5E45-61097C162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9CDF6E-288C-9457-3017-8ED52FABCA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" y="3751944"/>
            <a:ext cx="5621775" cy="28956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3A098A-CC06-16D1-2849-3B8C226BC0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6168" y="3972686"/>
            <a:ext cx="5860716" cy="24384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BBEA29-F765-7A44-CAD1-CC1603C07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0" y="1066800"/>
            <a:ext cx="8484316" cy="261337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64222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345094-8A9D-2475-7A8D-81B6154F2C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0D0CFE6-CB0C-9E17-9C66-A130E365A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FC3A6BA-14B2-075B-9DBD-83EF0F5883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26565D-00E7-65F5-9E6C-4D7D344A1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FED38B-D48B-52EE-59FA-C525B1E947C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41DC0A2-C5F9-6A66-1563-05592E68DC53}"/>
              </a:ext>
            </a:extLst>
          </p:cNvPr>
          <p:cNvSpPr txBox="1">
            <a:spLocks/>
          </p:cNvSpPr>
          <p:nvPr/>
        </p:nvSpPr>
        <p:spPr>
          <a:xfrm>
            <a:off x="686211" y="1809465"/>
            <a:ext cx="10526272" cy="488289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56032" indent="-256032" algn="l" defTabSz="914400" rtl="0" eaLnBrk="1" latinLnBrk="0" hangingPunct="1">
              <a:spcBef>
                <a:spcPts val="1500"/>
              </a:spcBef>
              <a:buClr>
                <a:srgbClr val="007FA3"/>
              </a:buClr>
              <a:buSzPct val="100000"/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al VLSI/Chip design flow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68D083-B379-80AA-70E2-B254CABF14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3351" y="2813970"/>
            <a:ext cx="8317107" cy="2401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8671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74D104-03B9-6B38-0546-8439A9F2B8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7C181-51E7-4280-08BB-90E755065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Enumerated Data Ty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060F52-7E72-BCE9-E65C-A29154DBCE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7086600" cy="4906960"/>
          </a:xfrm>
        </p:spPr>
        <p:txBody>
          <a:bodyPr/>
          <a:lstStyle/>
          <a:p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Define </a:t>
            </a:r>
            <a:r>
              <a:rPr lang="en-US" sz="2400" dirty="0" err="1"/>
              <a:t>enum</a:t>
            </a:r>
            <a:r>
              <a:rPr lang="en-US" sz="2400" dirty="0"/>
              <a:t> variables</a:t>
            </a:r>
          </a:p>
          <a:p>
            <a:pPr marL="0" indent="0">
              <a:buNone/>
            </a:pPr>
            <a:r>
              <a:rPr lang="en-US" sz="2400" dirty="0" err="1">
                <a:latin typeface="Abadi Extra Light" panose="020B0204020104020204" pitchFamily="34" charset="0"/>
              </a:rPr>
              <a:t>enumtype</a:t>
            </a:r>
            <a:r>
              <a:rPr lang="en-US" sz="2400" dirty="0">
                <a:latin typeface="Abadi Extra Light" panose="020B0204020104020204" pitchFamily="34" charset="0"/>
              </a:rPr>
              <a:t> </a:t>
            </a:r>
            <a:r>
              <a:rPr lang="en-US" sz="2400" dirty="0" err="1">
                <a:latin typeface="Abadi Extra Light" panose="020B0204020104020204" pitchFamily="34" charset="0"/>
              </a:rPr>
              <a:t>variable_name</a:t>
            </a:r>
            <a:r>
              <a:rPr lang="en-US" sz="2400" dirty="0">
                <a:latin typeface="Abadi Extra Light" panose="020B0204020104020204" pitchFamily="34" charset="0"/>
              </a:rPr>
              <a:t> [=</a:t>
            </a:r>
            <a:r>
              <a:rPr lang="en-US" sz="2400" dirty="0" err="1">
                <a:latin typeface="Abadi Extra Light" panose="020B0204020104020204" pitchFamily="34" charset="0"/>
              </a:rPr>
              <a:t>initial_value</a:t>
            </a:r>
            <a:r>
              <a:rPr lang="en-US" sz="2400" dirty="0">
                <a:latin typeface="Abadi Extra Light" panose="020B0204020104020204" pitchFamily="34" charset="0"/>
              </a:rPr>
              <a:t>];</a:t>
            </a:r>
            <a:endParaRPr lang="en-US" sz="2400" dirty="0"/>
          </a:p>
          <a:p>
            <a:pPr lvl="1"/>
            <a:r>
              <a:rPr lang="en-US" sz="1800" dirty="0"/>
              <a:t>Date type defaults to int</a:t>
            </a:r>
          </a:p>
          <a:p>
            <a:pPr lvl="1"/>
            <a:r>
              <a:rPr lang="en-US" sz="1800" dirty="0"/>
              <a:t>Variable initialized to ‘0 if </a:t>
            </a:r>
            <a:r>
              <a:rPr lang="en-US" sz="1800" dirty="0" err="1"/>
              <a:t>initial_value</a:t>
            </a:r>
            <a:r>
              <a:rPr lang="en-US" sz="1800" dirty="0"/>
              <a:t> is not </a:t>
            </a:r>
          </a:p>
          <a:p>
            <a:pPr marL="457200" lvl="1" indent="0">
              <a:buNone/>
            </a:pPr>
            <a:r>
              <a:rPr lang="en-US" sz="1800" dirty="0"/>
              <a:t>     specified (x for a 4-state data-type)</a:t>
            </a:r>
          </a:p>
          <a:p>
            <a:pPr lvl="1"/>
            <a:r>
              <a:rPr lang="en-US" sz="1800" dirty="0" err="1"/>
              <a:t>enum</a:t>
            </a:r>
            <a:r>
              <a:rPr lang="en-US" sz="1800" dirty="0"/>
              <a:t> can be displayed as ASCII or value</a:t>
            </a:r>
          </a:p>
          <a:p>
            <a:pPr marL="457200" lvl="1" indent="0">
              <a:buNone/>
            </a:pPr>
            <a:endParaRPr lang="en-US" sz="1400" dirty="0"/>
          </a:p>
          <a:p>
            <a:r>
              <a:rPr lang="en-US" sz="2400" dirty="0"/>
              <a:t>Define enumerated type</a:t>
            </a:r>
            <a:endParaRPr lang="en-US" sz="2400" dirty="0">
              <a:solidFill>
                <a:schemeClr val="bg2"/>
              </a:solidFill>
              <a:latin typeface="Abadi Extra Light" panose="020B0204020104020204" pitchFamily="34" charset="0"/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bg2"/>
                </a:solidFill>
                <a:latin typeface="Abadi Extra Light" panose="020B0204020104020204" pitchFamily="34" charset="0"/>
              </a:rPr>
              <a:t>typedef </a:t>
            </a:r>
            <a:r>
              <a:rPr lang="en-US" sz="2400" dirty="0" err="1">
                <a:solidFill>
                  <a:schemeClr val="bg2"/>
                </a:solidFill>
                <a:latin typeface="Abadi Extra Light" panose="020B0204020104020204" pitchFamily="34" charset="0"/>
              </a:rPr>
              <a:t>enum</a:t>
            </a:r>
            <a:r>
              <a:rPr lang="en-US" sz="2400" dirty="0">
                <a:solidFill>
                  <a:schemeClr val="bg2"/>
                </a:solidFill>
                <a:latin typeface="Abadi Extra Light" panose="020B0204020104020204" pitchFamily="34" charset="0"/>
              </a:rPr>
              <a:t> [</a:t>
            </a:r>
            <a:r>
              <a:rPr lang="en-US" sz="2400" dirty="0" err="1">
                <a:solidFill>
                  <a:schemeClr val="bg2"/>
                </a:solidFill>
                <a:latin typeface="Abadi Extra Light" panose="020B0204020104020204" pitchFamily="34" charset="0"/>
              </a:rPr>
              <a:t>data_type</a:t>
            </a:r>
            <a:r>
              <a:rPr lang="en-US" sz="2400" dirty="0">
                <a:solidFill>
                  <a:schemeClr val="bg2"/>
                </a:solidFill>
                <a:latin typeface="Abadi Extra Light" panose="020B0204020104020204" pitchFamily="34" charset="0"/>
              </a:rPr>
              <a:t>]</a:t>
            </a:r>
            <a:r>
              <a:rPr lang="en-US" sz="2400" dirty="0">
                <a:latin typeface="Abadi Extra Light" panose="020B0204020104020204" pitchFamily="34" charset="0"/>
              </a:rPr>
              <a:t> {named constants} </a:t>
            </a:r>
            <a:r>
              <a:rPr lang="en-US" sz="2400" dirty="0" err="1">
                <a:latin typeface="Abadi Extra Light" panose="020B0204020104020204" pitchFamily="34" charset="0"/>
              </a:rPr>
              <a:t>enumtype</a:t>
            </a:r>
            <a:r>
              <a:rPr lang="en-US" sz="2400" dirty="0">
                <a:latin typeface="Abadi Extra Light" panose="020B0204020104020204" pitchFamily="34" charset="0"/>
              </a:rPr>
              <a:t>;</a:t>
            </a:r>
          </a:p>
          <a:p>
            <a:pPr marL="0" indent="0">
              <a:buNone/>
            </a:pPr>
            <a:endParaRPr lang="en-US" sz="2400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9BB5C7-F6FA-1444-30B5-204D9E4C5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0675EB-4524-B4FC-D5CB-5C0F87AC39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400" y="2579950"/>
            <a:ext cx="5410200" cy="2587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EE4233-9FF2-DD35-CDDF-4A41A80172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4501"/>
          <a:stretch/>
        </p:blipFill>
        <p:spPr>
          <a:xfrm>
            <a:off x="838200" y="1282243"/>
            <a:ext cx="9067800" cy="801335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711252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75DB6-13B3-F9E5-6091-350DE74E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9385C-BFA2-4B81-52F7-D71C73F4C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Data Types: Enumerated Data Ty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6A2053-7FA0-181D-1288-C95E3DE5E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1E0939-9A8E-DCF0-E306-0F1FDF87D8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1143000"/>
            <a:ext cx="6019800" cy="513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1943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D4D74E-B490-1638-3C17-E3C8C57DCB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0F248-8ABF-8C7E-F9BD-EBE6E6C4D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 – Data 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ACD6A-C23B-D674-9C20-438859C2EC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4495800" cy="4906960"/>
          </a:xfrm>
        </p:spPr>
        <p:txBody>
          <a:bodyPr/>
          <a:lstStyle/>
          <a:p>
            <a:r>
              <a:rPr lang="en-US" sz="2000" dirty="0"/>
              <a:t>Contains elements of different data types.</a:t>
            </a:r>
          </a:p>
          <a:p>
            <a:r>
              <a:rPr lang="en-US" sz="2000" dirty="0"/>
              <a:t>Struct is unpacked by default.</a:t>
            </a:r>
          </a:p>
          <a:p>
            <a:r>
              <a:rPr lang="en-US" sz="2000" dirty="0"/>
              <a:t>The new data type can be used throughout the code, avoiding editing in multiple places if required.</a:t>
            </a:r>
          </a:p>
          <a:p>
            <a:r>
              <a:rPr lang="en-US" sz="2000" dirty="0"/>
              <a:t>We can create a user-defined data type of a struct using typedef for multiple struct variables with the same contents</a:t>
            </a:r>
          </a:p>
          <a:p>
            <a:endParaRPr lang="en-US" sz="2000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17CEA6-0D65-CFC4-0090-B7BCB2BEA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F584CF-BC55-859F-5951-ED81DA6B0E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5400" y="1402667"/>
            <a:ext cx="6858000" cy="405266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608017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3BD0AD-A519-E494-E7C8-B9BECB854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E947D-F363-62DE-A57D-526AB6B0D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 – Data Stru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A10A11-0A7C-ED5D-FFFB-0CA22D390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2F600F-204C-923E-29CD-3B6D98D3FB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6360" y="1126917"/>
            <a:ext cx="8839200" cy="528310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886129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3ABE0-9C2F-D5B3-54A0-675B03934F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ABD9-EEED-7DF4-1C2C-014F473DF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 – Data 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56C785-24A7-5EAD-E1E5-385B0EAB2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6019800" cy="4906960"/>
          </a:xfrm>
        </p:spPr>
        <p:txBody>
          <a:bodyPr/>
          <a:lstStyle/>
          <a:p>
            <a:r>
              <a:rPr lang="en-US" sz="2400" dirty="0"/>
              <a:t>Packed structs</a:t>
            </a:r>
          </a:p>
          <a:p>
            <a:pPr lvl="1"/>
            <a:r>
              <a:rPr lang="en-US" dirty="0"/>
              <a:t>struct defined with Packed keyword.</a:t>
            </a:r>
          </a:p>
          <a:p>
            <a:pPr lvl="1"/>
            <a:r>
              <a:rPr lang="en-US" dirty="0"/>
              <a:t>Contains only packed data types.</a:t>
            </a:r>
          </a:p>
          <a:p>
            <a:pPr lvl="1"/>
            <a:r>
              <a:rPr lang="en-US" dirty="0"/>
              <a:t>Variables are packed together in memory without gab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20837F-DE5B-658D-EE68-E91AF6376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FBDE01-DE6F-CDF3-C25B-BAAD7C478E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9400" y="1029483"/>
            <a:ext cx="4601497" cy="552371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097297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F8377-2793-DCD5-19A1-1A60B1977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0BA6BE-E10D-C70B-0451-265C67074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on – Data Un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FACF75-DFC2-7AC8-0478-E6A80906EC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7315200" cy="4906960"/>
          </a:xfrm>
        </p:spPr>
        <p:txBody>
          <a:bodyPr/>
          <a:lstStyle/>
          <a:p>
            <a:r>
              <a:rPr lang="en-US" sz="2400" dirty="0"/>
              <a:t>Like struct, contain different data types members,</a:t>
            </a:r>
          </a:p>
          <a:p>
            <a:r>
              <a:rPr lang="en-US" sz="2400" dirty="0"/>
              <a:t>But they share the same memory location.</a:t>
            </a:r>
          </a:p>
          <a:p>
            <a:r>
              <a:rPr lang="en-US" sz="2400" dirty="0"/>
              <a:t>Therefore,</a:t>
            </a:r>
          </a:p>
          <a:p>
            <a:pPr lvl="1"/>
            <a:r>
              <a:rPr lang="en-US" dirty="0"/>
              <a:t>Memory efficient data structure.</a:t>
            </a:r>
          </a:p>
          <a:p>
            <a:pPr lvl="1"/>
            <a:r>
              <a:rPr lang="en-US" dirty="0"/>
              <a:t>Restricts using one member at a tim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2FCBE2-CF1B-5247-7B23-6C547B20A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279009-6A89-B1E2-B785-46E2D817D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1800" y="3672685"/>
            <a:ext cx="7964398" cy="269717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819626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687D0-BF6E-62FD-F9C0-BFDDEE9688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06B304-3D0D-775A-D760-DBEBDABD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on – Data Un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97ABC6-92CD-18DB-C635-8110E2A805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E67CB28-B8E8-8022-8947-CEA0B74261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445" y="3276600"/>
            <a:ext cx="8443409" cy="32004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1EEA96-3243-6279-EE29-87669EB161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1195456"/>
            <a:ext cx="7086600" cy="38143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611616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764B1-813F-4E01-B44E-DAD2EB6F90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AE0491-16AE-1004-BB22-D5A7B388FD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24CD3CD-7727-47F7-44AB-8216667C77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1: ( ~ 60 min)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AD8D5E-DD0F-3247-972E-6AE885585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0B6345-AB59-D24E-221C-50F5C4836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2608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D1D844-8AE3-BD7B-602A-728897E76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D0C500-C3E1-585F-155F-5542165DAE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CF7DD18-695E-1F8C-F1A2-6F9105BF7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Lab 1: design spe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74B94F-805A-9B6D-ADA2-68DE0EC842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972800" cy="5423423"/>
          </a:xfrm>
        </p:spPr>
        <p:txBody>
          <a:bodyPr/>
          <a:lstStyle/>
          <a:p>
            <a:r>
              <a:rPr lang="en-US" sz="2400" dirty="0"/>
              <a:t>In this lab, a model of communication protocol packet construction can be designed using the </a:t>
            </a:r>
            <a:r>
              <a:rPr lang="en-US" sz="2400" dirty="0" err="1"/>
              <a:t>SystemVerilog</a:t>
            </a:r>
            <a:r>
              <a:rPr lang="en-US" sz="2400" dirty="0"/>
              <a:t> data types. The model constructs and displays from 10 to 20 packets of random data.</a:t>
            </a:r>
          </a:p>
          <a:p>
            <a:r>
              <a:rPr lang="en-US" sz="2400" dirty="0"/>
              <a:t>Each packet contains the following:</a:t>
            </a:r>
          </a:p>
          <a:p>
            <a:pPr lvl="1"/>
            <a:r>
              <a:rPr lang="en-US" sz="1800" dirty="0"/>
              <a:t>Packet ID: 0,1,2…</a:t>
            </a:r>
          </a:p>
          <a:p>
            <a:pPr lvl="1"/>
            <a:r>
              <a:rPr lang="en-US" sz="1800" dirty="0"/>
              <a:t>Packet sent time.</a:t>
            </a:r>
          </a:p>
          <a:p>
            <a:pPr lvl="1"/>
            <a:r>
              <a:rPr lang="en-US" sz="1800" dirty="0"/>
              <a:t>Packet data that is 32-bit width.</a:t>
            </a:r>
          </a:p>
          <a:p>
            <a:pPr lvl="1"/>
            <a:r>
              <a:rPr lang="en-US" sz="1800" dirty="0"/>
              <a:t>Packet Type: Data, Command, Control.</a:t>
            </a:r>
          </a:p>
          <a:p>
            <a:r>
              <a:rPr lang="en-US" sz="2400" dirty="0"/>
              <a:t>The packets are constructed and displayed such that:</a:t>
            </a:r>
          </a:p>
          <a:p>
            <a:pPr lvl="1"/>
            <a:r>
              <a:rPr lang="en-US" sz="1800" dirty="0"/>
              <a:t>The First packet type is Control.</a:t>
            </a:r>
          </a:p>
          <a:p>
            <a:pPr lvl="1"/>
            <a:r>
              <a:rPr lang="en-US" sz="1800" dirty="0"/>
              <a:t>The second packet type is Command.</a:t>
            </a:r>
          </a:p>
          <a:p>
            <a:pPr lvl="1"/>
            <a:r>
              <a:rPr lang="en-US" sz="1800" dirty="0"/>
              <a:t>The rest of the packets type is da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61C8C3-AA9A-5841-50BA-13A387A3C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891561-4D58-2883-E91F-1210B0C872D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89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6F1ECF2-0C8F-C8DA-6455-6828EDD40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Verification Proces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5984FA-ED43-6E57-56AC-728B462F73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cess of checking that a given design correctly implements the specification and the required functionality. </a:t>
            </a:r>
          </a:p>
          <a:p>
            <a:r>
              <a:rPr lang="en-US" dirty="0"/>
              <a:t>A verification engineer accomplishes this by:</a:t>
            </a:r>
          </a:p>
          <a:p>
            <a:pPr lvl="1"/>
            <a:r>
              <a:rPr lang="en-US" dirty="0"/>
              <a:t>Reading the hardware specification</a:t>
            </a:r>
          </a:p>
          <a:p>
            <a:pPr lvl="1"/>
            <a:r>
              <a:rPr lang="en-US" dirty="0"/>
              <a:t>Creating a verification plan</a:t>
            </a:r>
          </a:p>
          <a:p>
            <a:pPr lvl="1"/>
            <a:r>
              <a:rPr lang="en-US" dirty="0"/>
              <a:t>Building tests that show the RTL code correctly implements the features</a:t>
            </a:r>
          </a:p>
          <a:p>
            <a:r>
              <a:rPr lang="en-US" dirty="0"/>
              <a:t>Verification also includes error injection and handling.</a:t>
            </a:r>
          </a:p>
          <a:p>
            <a:pPr lvl="1"/>
            <a:r>
              <a:rPr lang="en-US" dirty="0"/>
              <a:t>How does the design handle errors?</a:t>
            </a:r>
          </a:p>
          <a:p>
            <a:pPr lvl="1"/>
            <a:r>
              <a:rPr lang="en-US" dirty="0"/>
              <a:t>How should it recover from them?</a:t>
            </a:r>
          </a:p>
          <a:p>
            <a:r>
              <a:rPr lang="en-US" dirty="0"/>
              <a:t>Verification consumes around 80% of the total product development tim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72C7F4-BA8E-EF11-B3F9-8BE0BAC694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835787-AC4E-350A-3BE2-C3DE33BF7A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0799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686A57-20D4-02B6-35B6-EB735AA355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6A9EF0C-A475-3ACA-5E61-8883C2E9A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Verified?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CD37119-517D-F408-5C9C-90220B72E8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045707-5E37-7F46-B081-4C78DD5B3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FB1179-E799-F028-950C-F3CE068676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51F268-41BE-544B-4324-4740C99B52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2198980"/>
            <a:ext cx="7802919" cy="294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209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A7DF3-8D0A-D0BD-0DFD-894F4A472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7E0BF4B-8940-8199-C79C-F340AE16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Level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CC12507-25CE-629A-D58A-E7F330B011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8763000" cy="4886178"/>
          </a:xfrm>
        </p:spPr>
        <p:txBody>
          <a:bodyPr/>
          <a:lstStyle/>
          <a:p>
            <a:r>
              <a:rPr lang="en-US" dirty="0"/>
              <a:t>Basic verification: (at Unit/Sub-unit level) </a:t>
            </a:r>
          </a:p>
          <a:p>
            <a:r>
              <a:rPr lang="en-US" dirty="0"/>
              <a:t>Functional verification (at IP blocks level)</a:t>
            </a:r>
          </a:p>
          <a:p>
            <a:r>
              <a:rPr lang="en-US" dirty="0"/>
              <a:t>System level verification: (at the Systems level)</a:t>
            </a:r>
          </a:p>
          <a:p>
            <a:r>
              <a:rPr lang="en-US" dirty="0"/>
              <a:t>Connectivity: (at Board level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4AB456-CD53-7DE3-05B0-16E07018E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FDA69B-5221-67CE-4E90-1B892461435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6511AA7-EC8F-2B15-8BC6-4EB9AEA9B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800" y="1295400"/>
            <a:ext cx="2297847" cy="4458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076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DC1E10-E657-6A67-C499-2EB63958C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FC0EE2C-6FA8-C682-E79A-DD0DDDC83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Metho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23E52F-F6A7-6116-FA68-095C0E523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2FC595-0A08-0D37-63F0-C06025B1A55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2" name="Picture 11" descr="A diagram of a software development process&#10;&#10;Description automatically generated">
            <a:extLst>
              <a:ext uri="{FF2B5EF4-FFF2-40B4-BE49-F238E27FC236}">
                <a16:creationId xmlns:a16="http://schemas.microsoft.com/office/drawing/2014/main" id="{0F074070-842C-5F18-00AA-4EBF8618707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400" y="1008152"/>
            <a:ext cx="6065217" cy="559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907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FE1D1-DFDE-E106-B691-D60C0B1860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1B82622-0B27-E64B-6E40-0D1F4980A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Metho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E677D5-3605-367D-7186-E5B9D5E38F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Simulation Based Verification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736A32-DFA8-BEB0-72A7-061A44E1E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A89F44-7041-59D8-4E29-4F3DA50875E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" name="Picture 2" descr="Verification Methods Simulation Based Formal Verification Semi Formal">
            <a:extLst>
              <a:ext uri="{FF2B5EF4-FFF2-40B4-BE49-F238E27FC236}">
                <a16:creationId xmlns:a16="http://schemas.microsoft.com/office/drawing/2014/main" id="{EFEEED7B-A24D-250E-3159-E07CB4C69F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" t="25579" r="3425" b="10733"/>
          <a:stretch/>
        </p:blipFill>
        <p:spPr bwMode="auto">
          <a:xfrm>
            <a:off x="1490749" y="1610271"/>
            <a:ext cx="8166126" cy="4077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49AC4A8-D4B3-CC64-6C83-7E78876ECFDF}"/>
              </a:ext>
            </a:extLst>
          </p:cNvPr>
          <p:cNvSpPr txBox="1"/>
          <p:nvPr/>
        </p:nvSpPr>
        <p:spPr>
          <a:xfrm>
            <a:off x="2279724" y="5870859"/>
            <a:ext cx="737715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ivolo</a:t>
            </a:r>
            <a:r>
              <a:rPr lang="en-US" sz="9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L.. </a:t>
            </a:r>
            <a:r>
              <a:rPr lang="en-US" sz="9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nsaction-based Verification And Emulation Combine For Multi-megahertz Verification Performance</a:t>
            </a:r>
            <a:r>
              <a:rPr lang="en-US" sz="9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[online] Electronicdesign.com. Available at: &lt;https://www.electronicdesign.com/technologies/eda/article/21796417/transactionbased-verification-and-emulation-combine-for-multimegahertz-verification-performance&gt;.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8652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7C4005-B4F6-5BAB-E6EC-DF6100466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C4FD6C8-2241-381A-DDA7-388EF2F68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ification Method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4E8127-35D8-4392-CFA9-E61DF23781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/>
              <a:t>Formal Verification</a:t>
            </a:r>
          </a:p>
          <a:p>
            <a:endParaRPr lang="en-US" sz="1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819888-4BF1-DCE0-C331-5BC9946DC0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C3C017-4CDD-C05A-125E-3A9F0007B12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707907-8A40-C6FF-E836-1E64D0161B2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9829800" cy="4525963"/>
          </a:xfrm>
        </p:spPr>
        <p:txBody>
          <a:bodyPr/>
          <a:lstStyle/>
          <a:p>
            <a:pPr lvl="0" algn="just"/>
            <a:r>
              <a:rPr lang="en-US" sz="2000" dirty="0"/>
              <a:t>It is a method by which we prove or disprove a design implementation against a formal specification or property by using a mathematical model. </a:t>
            </a:r>
          </a:p>
          <a:p>
            <a:pPr lvl="0" algn="just"/>
            <a:r>
              <a:rPr lang="en-US" sz="2000" dirty="0"/>
              <a:t>An algorithm is used to explore all possible input values over time and to exercise all possible states in a design. </a:t>
            </a:r>
          </a:p>
          <a:p>
            <a:pPr lvl="0" algn="just"/>
            <a:r>
              <a:rPr lang="en-US" sz="2000" dirty="0"/>
              <a:t>It works well for small designs where the number of inputs, outputs, and states is small.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700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3810</TotalTime>
  <Words>2094</Words>
  <Application>Microsoft Office PowerPoint</Application>
  <PresentationFormat>Widescreen</PresentationFormat>
  <Paragraphs>322</Paragraphs>
  <Slides>3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badi Extra Light</vt:lpstr>
      <vt:lpstr>Arial</vt:lpstr>
      <vt:lpstr>Times New Roman</vt:lpstr>
      <vt:lpstr>Wingdings</vt:lpstr>
      <vt:lpstr>508 Lecture</vt:lpstr>
      <vt:lpstr>think-cell Slide</vt:lpstr>
      <vt:lpstr>CND212: Digital Testing and Verification</vt:lpstr>
      <vt:lpstr>Digital IC Verification  </vt:lpstr>
      <vt:lpstr>Introduction</vt:lpstr>
      <vt:lpstr>The Verification Process</vt:lpstr>
      <vt:lpstr>What is Verified?</vt:lpstr>
      <vt:lpstr>Verification Levels</vt:lpstr>
      <vt:lpstr>Verification Methods</vt:lpstr>
      <vt:lpstr>Verification Methods</vt:lpstr>
      <vt:lpstr>Verification Methods</vt:lpstr>
      <vt:lpstr>Verification Methods</vt:lpstr>
      <vt:lpstr>Verification Methods</vt:lpstr>
      <vt:lpstr>Verification Testbench</vt:lpstr>
      <vt:lpstr>Well Designed Verification Environment</vt:lpstr>
      <vt:lpstr>Verification Testbench</vt:lpstr>
      <vt:lpstr>Verification Testbench</vt:lpstr>
      <vt:lpstr>SystemVerilog Basics </vt:lpstr>
      <vt:lpstr>SV Lexical Conventions</vt:lpstr>
      <vt:lpstr>SV Number Format</vt:lpstr>
      <vt:lpstr>SV Data Types</vt:lpstr>
      <vt:lpstr>SV Data Types</vt:lpstr>
      <vt:lpstr>SV Data Types: Four State (0|1|X|Z)</vt:lpstr>
      <vt:lpstr>SV Data Types: Four State (0|1|X|Z)</vt:lpstr>
      <vt:lpstr>SV Data Types: Two State (0|1)</vt:lpstr>
      <vt:lpstr>SV Data Types: Two State (0|1)</vt:lpstr>
      <vt:lpstr>SV Data Types: Two State (0|1)</vt:lpstr>
      <vt:lpstr>SV Data Types: String Data Type</vt:lpstr>
      <vt:lpstr>SV Data Types: String Data Type</vt:lpstr>
      <vt:lpstr>SV Data Types: String Data Type</vt:lpstr>
      <vt:lpstr>SV Data Types: String Data Type</vt:lpstr>
      <vt:lpstr>SV Data Types: Enumerated Data Type</vt:lpstr>
      <vt:lpstr>SV Data Types: Enumerated Data Type</vt:lpstr>
      <vt:lpstr>struct – Data Structure</vt:lpstr>
      <vt:lpstr>struct – Data Structure</vt:lpstr>
      <vt:lpstr>struct – Data Structure</vt:lpstr>
      <vt:lpstr>union – Data Union</vt:lpstr>
      <vt:lpstr>union – Data Union</vt:lpstr>
      <vt:lpstr>Lab 1: ( ~ 60 min) </vt:lpstr>
      <vt:lpstr> Lab 1: design specs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39</cp:revision>
  <dcterms:created xsi:type="dcterms:W3CDTF">2014-07-14T20:04:21Z</dcterms:created>
  <dcterms:modified xsi:type="dcterms:W3CDTF">2024-02-13T12:08:36Z</dcterms:modified>
</cp:coreProperties>
</file>